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288" r:id="rId2"/>
    <p:sldId id="289" r:id="rId3"/>
    <p:sldId id="290" r:id="rId4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603" autoAdjust="0"/>
    <p:restoredTop sz="94660"/>
  </p:normalViewPr>
  <p:slideViewPr>
    <p:cSldViewPr snapToGrid="0">
      <p:cViewPr varScale="1">
        <p:scale>
          <a:sx n="60" d="100"/>
          <a:sy n="60" d="100"/>
        </p:scale>
        <p:origin x="90" y="7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38C252-C0B8-49E6-92E0-3A83155707DE}" type="datetimeFigureOut">
              <a:rPr lang="en-US" smtClean="0">
                <a:latin typeface="Arial" panose="020B0604020202020204" pitchFamily="34" charset="0"/>
              </a:rPr>
              <a:t>8/7/2020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6869C1-3516-47F6-89CF-29065F7DEDDE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18985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6869C1-3516-47F6-89CF-29065F7DEDDE}" type="slidenum">
              <a:rPr lang="en-US" smtClean="0">
                <a:latin typeface="Arial" panose="020B0604020202020204" pitchFamily="34" charset="0"/>
              </a:rPr>
              <a:t>1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15225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6869C1-3516-47F6-89CF-29065F7DEDDE}" type="slidenum">
              <a:rPr lang="en-US" smtClean="0">
                <a:latin typeface="Arial" panose="020B0604020202020204" pitchFamily="34" charset="0"/>
              </a:rPr>
              <a:t>2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22565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6869C1-3516-47F6-89CF-29065F7DEDDE}" type="slidenum">
              <a:rPr lang="en-US" smtClean="0">
                <a:latin typeface="Arial" panose="020B0604020202020204" pitchFamily="34" charset="0"/>
              </a:rPr>
              <a:t>3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53608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NULL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3A28117-726B-46E2-88DD-D1EF69BF00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8584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399A172-5B92-4345-801B-528C5782F2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2DD401-6AC3-4414-B26C-9DB21E1058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88A0C4B-DDA7-4081-AC22-AB01AEB5B9B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37B11C-3075-41E7-BE7F-F9568AD731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E2DC88-A117-43C6-AB26-37E1B6CD9A7A}" type="datetimeFigureOut">
              <a:rPr lang="en-US" smtClean="0"/>
              <a:t>8/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6C67ED-03BA-4ED3-98AE-EE82CB7DFF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C575AB-E2B9-49E4-B9B2-FC4AF96690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EE0D1-0AB5-43A9-AB90-D76A62B4AD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21741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ine_Lead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B61E6DA0-19F7-494E-B91E-75008F0C47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8581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B61E6DA0-19F7-494E-B91E-75008F0C47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FF7366B7-B4B4-4A72-8686-752248F340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5594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C22EA489-A0F8-4015-B295-635A6644814B}" type="datetime1">
              <a:rPr lang="en-US" smtClean="0"/>
              <a:pPr/>
              <a:t>8/7/2020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6DB2F64-3B64-417B-947C-4CBC858FED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55945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4097EF3-82BE-4DE6-BC3D-9B4D1FBDAA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83683" y="645594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96BE239D-A748-4E67-A960-0F5DF19E38A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D15646C-39EA-4685-B131-98C574974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811" y="95588"/>
            <a:ext cx="10515600" cy="6879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90E25D3-F817-47CB-8F06-B34FBE6EC797}"/>
              </a:ext>
            </a:extLst>
          </p:cNvPr>
          <p:cNvSpPr/>
          <p:nvPr userDrawn="1"/>
        </p:nvSpPr>
        <p:spPr>
          <a:xfrm>
            <a:off x="469313" y="186263"/>
            <a:ext cx="86498" cy="50662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096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58CD3F8-053E-498D-B53F-C5109B241F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59242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7" imgW="231" imgH="232" progId="TCLayout.ActiveDocument.1">
                  <p:embed/>
                </p:oleObj>
              </mc:Choice>
              <mc:Fallback>
                <p:oleObj name="think-cell Slide" r:id="rId7" imgW="231" imgH="23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2A7BB4A0-A822-48EA-AD89-2E04CCED03A5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324FA04-DF33-49EE-8EC9-7129745340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C8782A-FEB0-48D2-B4F4-4E1B4CB6C8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86163D-2EC5-4D5B-94D2-CDD3B72C215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DE2DC88-A117-43C6-AB26-37E1B6CD9A7A}" type="datetimeFigureOut">
              <a:rPr lang="en-US" smtClean="0"/>
              <a:pPr/>
              <a:t>8/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8667FD-5B79-470F-A529-4F1B1F22EC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FE4E40-C259-47A0-8E77-C725750B19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A70EE0D1-0AB5-43A9-AB90-D76A62B4ADE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7647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  <a:sym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Relationship Id="rId9" Type="http://schemas.openxmlformats.org/officeDocument/2006/relationships/hyperlink" Target="https://pricing.us-east-1.amazonaws.com/offers/v1.0/aws/AmazonEC2/current/index.json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4CDC17B-45A5-4F79-887A-4B23428D3B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1988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4CDC17B-45A5-4F79-887A-4B23428D3B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F2658380-D1AE-42B6-84AA-AD286D163307}"/>
              </a:ext>
            </a:extLst>
          </p:cNvPr>
          <p:cNvSpPr/>
          <p:nvPr/>
        </p:nvSpPr>
        <p:spPr>
          <a:xfrm>
            <a:off x="555811" y="1000897"/>
            <a:ext cx="10922586" cy="5455047"/>
          </a:xfrm>
          <a:prstGeom prst="rect">
            <a:avLst/>
          </a:prstGeom>
          <a:solidFill>
            <a:schemeClr val="bg1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22C788-BEDF-405C-B1E8-F6998EB71F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BE239D-A748-4E67-A960-0F5DF19E38AB}" type="slidenum">
              <a:rPr lang="en-US" smtClean="0"/>
              <a:t>1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42B5429-D5CE-4F81-A092-DE8767C57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ces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C36233-89BA-47C8-9488-9B9AC4793804}"/>
              </a:ext>
            </a:extLst>
          </p:cNvPr>
          <p:cNvSpPr/>
          <p:nvPr/>
        </p:nvSpPr>
        <p:spPr>
          <a:xfrm>
            <a:off x="902043" y="2401620"/>
            <a:ext cx="2421924" cy="4779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Arial" panose="020B0604020202020204" pitchFamily="34" charset="0"/>
                <a:sym typeface="Arial" panose="020B0604020202020204" pitchFamily="34" charset="0"/>
              </a:rPr>
              <a:t>Offer index fi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C1C999A-C8DC-4580-B26C-7AB22D896B1C}"/>
              </a:ext>
            </a:extLst>
          </p:cNvPr>
          <p:cNvSpPr/>
          <p:nvPr/>
        </p:nvSpPr>
        <p:spPr>
          <a:xfrm>
            <a:off x="902043" y="1308181"/>
            <a:ext cx="2421924" cy="4779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Arial" panose="020B0604020202020204" pitchFamily="34" charset="0"/>
                <a:sym typeface="Arial" panose="020B0604020202020204" pitchFamily="34" charset="0"/>
              </a:rPr>
              <a:t>SKU lookup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3C5C03B-CDFD-42E8-B23A-F2A7D52B2A0E}"/>
              </a:ext>
            </a:extLst>
          </p:cNvPr>
          <p:cNvSpPr txBox="1"/>
          <p:nvPr/>
        </p:nvSpPr>
        <p:spPr>
          <a:xfrm>
            <a:off x="3410465" y="2464210"/>
            <a:ext cx="71841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sym typeface="Arial" panose="020B0604020202020204" pitchFamily="34" charset="0"/>
              </a:rPr>
              <a:t>https://pricing.us-east-1.amazonaws.com/offers/v1.0/aws/index.json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1772A44-4E6B-4819-90F2-0F204ECAE76A}"/>
              </a:ext>
            </a:extLst>
          </p:cNvPr>
          <p:cNvSpPr/>
          <p:nvPr/>
        </p:nvSpPr>
        <p:spPr>
          <a:xfrm>
            <a:off x="713603" y="1170257"/>
            <a:ext cx="324912" cy="324912"/>
          </a:xfrm>
          <a:prstGeom prst="ellipse">
            <a:avLst/>
          </a:prstGeom>
          <a:solidFill>
            <a:srgbClr val="4472C4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E33DF02-B68E-4BF9-94A0-B467546922F2}"/>
              </a:ext>
            </a:extLst>
          </p:cNvPr>
          <p:cNvSpPr/>
          <p:nvPr/>
        </p:nvSpPr>
        <p:spPr>
          <a:xfrm>
            <a:off x="713603" y="2239164"/>
            <a:ext cx="324912" cy="324912"/>
          </a:xfrm>
          <a:prstGeom prst="ellipse">
            <a:avLst/>
          </a:prstGeom>
          <a:solidFill>
            <a:srgbClr val="4472C4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2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34465CC-74E8-4257-9027-E41D1E4A951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8515" y="3017146"/>
            <a:ext cx="8087854" cy="1190791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61DE838F-0C3A-47F5-AD49-80A526DE18DB}"/>
              </a:ext>
            </a:extLst>
          </p:cNvPr>
          <p:cNvSpPr/>
          <p:nvPr/>
        </p:nvSpPr>
        <p:spPr>
          <a:xfrm>
            <a:off x="902043" y="4411190"/>
            <a:ext cx="2421924" cy="4779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Arial" panose="020B0604020202020204" pitchFamily="34" charset="0"/>
                <a:sym typeface="Arial" panose="020B0604020202020204" pitchFamily="34" charset="0"/>
              </a:rPr>
              <a:t>Get </a:t>
            </a:r>
            <a:r>
              <a:rPr lang="en-US" dirty="0" err="1">
                <a:latin typeface="Arial" panose="020B0604020202020204" pitchFamily="34" charset="0"/>
                <a:sym typeface="Arial" panose="020B0604020202020204" pitchFamily="34" charset="0"/>
              </a:rPr>
              <a:t>region_index.json</a:t>
            </a:r>
            <a:endParaRPr lang="en-US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765FA9D-DBE9-4002-B7F6-06E800D28D4C}"/>
              </a:ext>
            </a:extLst>
          </p:cNvPr>
          <p:cNvSpPr/>
          <p:nvPr/>
        </p:nvSpPr>
        <p:spPr>
          <a:xfrm>
            <a:off x="713603" y="4248734"/>
            <a:ext cx="324912" cy="324912"/>
          </a:xfrm>
          <a:prstGeom prst="ellipse">
            <a:avLst/>
          </a:prstGeom>
          <a:solidFill>
            <a:srgbClr val="4472C4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3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7262A94-6FFC-42D9-B0CB-1A57629C8DF9}"/>
              </a:ext>
            </a:extLst>
          </p:cNvPr>
          <p:cNvSpPr/>
          <p:nvPr/>
        </p:nvSpPr>
        <p:spPr>
          <a:xfrm>
            <a:off x="1210963" y="3880022"/>
            <a:ext cx="2199502" cy="197708"/>
          </a:xfrm>
          <a:prstGeom prst="rect">
            <a:avLst/>
          </a:prstGeom>
          <a:noFill/>
          <a:ln w="19050">
            <a:solidFill>
              <a:srgbClr val="00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C6F8B6E-6C40-41AC-A4CD-F4699CBA470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8515" y="4996671"/>
            <a:ext cx="7544853" cy="60968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E0EA065-6080-415F-8CF2-D18336526C64}"/>
              </a:ext>
            </a:extLst>
          </p:cNvPr>
          <p:cNvSpPr txBox="1"/>
          <p:nvPr/>
        </p:nvSpPr>
        <p:spPr>
          <a:xfrm>
            <a:off x="1524786" y="1830655"/>
            <a:ext cx="92304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 dirty="0">
                <a:hlinkClick r:id="rId9"/>
              </a:rPr>
              <a:t>https://pricing.us-east-1.amazonaws.com/offers/v1.0/aws/AmazonEC2/current/index.json</a:t>
            </a:r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F4BC786-5809-41E5-A549-F5FAF46E746B}"/>
              </a:ext>
            </a:extLst>
          </p:cNvPr>
          <p:cNvSpPr/>
          <p:nvPr/>
        </p:nvSpPr>
        <p:spPr>
          <a:xfrm>
            <a:off x="1210963" y="3422821"/>
            <a:ext cx="1532237" cy="185351"/>
          </a:xfrm>
          <a:prstGeom prst="rect">
            <a:avLst/>
          </a:prstGeom>
          <a:noFill/>
          <a:ln w="19050">
            <a:solidFill>
              <a:srgbClr val="00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21454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4CDC17B-45A5-4F79-887A-4B23428D3B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713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4CDC17B-45A5-4F79-887A-4B23428D3B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F2658380-D1AE-42B6-84AA-AD286D163307}"/>
              </a:ext>
            </a:extLst>
          </p:cNvPr>
          <p:cNvSpPr/>
          <p:nvPr/>
        </p:nvSpPr>
        <p:spPr>
          <a:xfrm>
            <a:off x="555811" y="1000897"/>
            <a:ext cx="10922586" cy="5455047"/>
          </a:xfrm>
          <a:prstGeom prst="rect">
            <a:avLst/>
          </a:prstGeom>
          <a:solidFill>
            <a:schemeClr val="bg1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22C788-BEDF-405C-B1E8-F6998EB71F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BE239D-A748-4E67-A960-0F5DF19E38AB}" type="slidenum">
              <a:rPr lang="en-US" smtClean="0"/>
              <a:t>2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42B5429-D5CE-4F81-A092-DE8767C57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ces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C1C999A-C8DC-4580-B26C-7AB22D896B1C}"/>
              </a:ext>
            </a:extLst>
          </p:cNvPr>
          <p:cNvSpPr/>
          <p:nvPr/>
        </p:nvSpPr>
        <p:spPr>
          <a:xfrm>
            <a:off x="902043" y="1308181"/>
            <a:ext cx="2421924" cy="4779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Arial" panose="020B0604020202020204" pitchFamily="34" charset="0"/>
                <a:sym typeface="Arial" panose="020B0604020202020204" pitchFamily="34" charset="0"/>
              </a:rPr>
              <a:t>SKU lookup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1772A44-4E6B-4819-90F2-0F204ECAE76A}"/>
              </a:ext>
            </a:extLst>
          </p:cNvPr>
          <p:cNvSpPr/>
          <p:nvPr/>
        </p:nvSpPr>
        <p:spPr>
          <a:xfrm>
            <a:off x="713603" y="1170257"/>
            <a:ext cx="324912" cy="324912"/>
          </a:xfrm>
          <a:prstGeom prst="ellipse">
            <a:avLst/>
          </a:prstGeom>
          <a:solidFill>
            <a:srgbClr val="4472C4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8156499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583ADF2-6C78-4B49-BEFA-278C2A406A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0820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AE67370-758F-4739-844E-2B0985E55D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0791874-FC12-4A87-B7DF-091452CD539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37889" y="1890498"/>
            <a:ext cx="7316221" cy="307700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5081A96C-AC87-4936-859C-2A1043D0E937}"/>
              </a:ext>
            </a:extLst>
          </p:cNvPr>
          <p:cNvSpPr/>
          <p:nvPr/>
        </p:nvSpPr>
        <p:spPr>
          <a:xfrm>
            <a:off x="2672179" y="2849732"/>
            <a:ext cx="6489575" cy="286965"/>
          </a:xfrm>
          <a:prstGeom prst="rect">
            <a:avLst/>
          </a:prstGeom>
          <a:noFill/>
          <a:ln w="19050">
            <a:solidFill>
              <a:srgbClr val="00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35798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JPCV5hkEyy.q8BPsv0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2WetvruifnUNE_NzhC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3</TotalTime>
  <Words>67</Words>
  <Application>Microsoft Office PowerPoint</Application>
  <PresentationFormat>Widescreen</PresentationFormat>
  <Paragraphs>18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Arial</vt:lpstr>
      <vt:lpstr>Calibri Light</vt:lpstr>
      <vt:lpstr>Office Theme</vt:lpstr>
      <vt:lpstr>think-cell Slide</vt:lpstr>
      <vt:lpstr>Process</vt:lpstr>
      <vt:lpstr>Process</vt:lpstr>
      <vt:lpstr>Referenc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ng, Norman</dc:creator>
  <cp:lastModifiedBy>Tang, Norman</cp:lastModifiedBy>
  <cp:revision>6</cp:revision>
  <dcterms:created xsi:type="dcterms:W3CDTF">2020-08-06T04:21:57Z</dcterms:created>
  <dcterms:modified xsi:type="dcterms:W3CDTF">2020-08-07T21:25:36Z</dcterms:modified>
</cp:coreProperties>
</file>